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49"/>
  </p:notesMasterIdLst>
  <p:sldIdLst>
    <p:sldId id="281" r:id="rId2"/>
    <p:sldId id="282" r:id="rId3"/>
    <p:sldId id="447" r:id="rId4"/>
    <p:sldId id="316" r:id="rId5"/>
    <p:sldId id="324" r:id="rId6"/>
    <p:sldId id="393" r:id="rId7"/>
    <p:sldId id="339" r:id="rId8"/>
    <p:sldId id="423" r:id="rId9"/>
    <p:sldId id="433" r:id="rId10"/>
    <p:sldId id="435" r:id="rId11"/>
    <p:sldId id="437" r:id="rId12"/>
    <p:sldId id="438" r:id="rId13"/>
    <p:sldId id="440" r:id="rId14"/>
    <p:sldId id="441" r:id="rId15"/>
    <p:sldId id="442" r:id="rId16"/>
    <p:sldId id="443" r:id="rId17"/>
    <p:sldId id="448" r:id="rId18"/>
    <p:sldId id="343" r:id="rId19"/>
    <p:sldId id="461" r:id="rId20"/>
    <p:sldId id="449" r:id="rId21"/>
    <p:sldId id="427" r:id="rId22"/>
    <p:sldId id="428" r:id="rId23"/>
    <p:sldId id="467" r:id="rId24"/>
    <p:sldId id="418" r:id="rId25"/>
    <p:sldId id="465" r:id="rId26"/>
    <p:sldId id="468" r:id="rId27"/>
    <p:sldId id="470" r:id="rId28"/>
    <p:sldId id="469" r:id="rId29"/>
    <p:sldId id="475" r:id="rId30"/>
    <p:sldId id="471" r:id="rId31"/>
    <p:sldId id="477" r:id="rId32"/>
    <p:sldId id="478" r:id="rId33"/>
    <p:sldId id="479" r:id="rId34"/>
    <p:sldId id="480" r:id="rId35"/>
    <p:sldId id="481" r:id="rId36"/>
    <p:sldId id="430" r:id="rId37"/>
    <p:sldId id="328" r:id="rId38"/>
    <p:sldId id="432" r:id="rId39"/>
    <p:sldId id="426" r:id="rId40"/>
    <p:sldId id="444" r:id="rId41"/>
    <p:sldId id="484" r:id="rId42"/>
    <p:sldId id="486" r:id="rId43"/>
    <p:sldId id="487" r:id="rId44"/>
    <p:sldId id="485" r:id="rId45"/>
    <p:sldId id="488" r:id="rId46"/>
    <p:sldId id="489" r:id="rId47"/>
    <p:sldId id="490" r:id="rId48"/>
  </p:sldIdLst>
  <p:sldSz cx="12192000" cy="6858000"/>
  <p:notesSz cx="6858000" cy="9144000"/>
  <p:custDataLst>
    <p:tags r:id="rId5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6"/>
            <p14:sldId id="487"/>
            <p14:sldId id="485"/>
            <p14:sldId id="488"/>
            <p14:sldId id="489"/>
            <p14:sldId id="490"/>
          </p14:sldIdLst>
        </p14:section>
      </p14:sectionLst>
    </p:ex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171BE"/>
    <a:srgbClr val="EDB120"/>
    <a:srgbClr val="050909"/>
    <a:srgbClr val="680000"/>
    <a:srgbClr val="D1DCDA"/>
    <a:srgbClr val="00677F"/>
    <a:srgbClr val="C20D0D"/>
    <a:srgbClr val="03BFB5"/>
    <a:srgbClr val="D95319"/>
    <a:srgbClr val="0072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52" autoAdjust="0"/>
    <p:restoredTop sz="91839" autoAdjust="0"/>
  </p:normalViewPr>
  <p:slideViewPr>
    <p:cSldViewPr snapToGrid="0">
      <p:cViewPr varScale="1">
        <p:scale>
          <a:sx n="105" d="100"/>
          <a:sy n="105" d="100"/>
        </p:scale>
        <p:origin x="1158" y="78"/>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3.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4.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5.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7.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9.png"/><Relationship Id="rId9" Type="http://schemas.openxmlformats.org/officeDocument/2006/relationships/image" Target="../media/image101.png"/></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7.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862763" y="328259"/>
            <a:ext cx="2665611" cy="1821146"/>
            <a:chOff x="6862763" y="328259"/>
            <a:chExt cx="2665611" cy="1821146"/>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862763" y="328259"/>
              <a:ext cx="2665611" cy="1821146"/>
              <a:chOff x="7857637" y="52576"/>
              <a:chExt cx="2665611" cy="1821146"/>
            </a:xfrm>
          </p:grpSpPr>
          <p:sp>
            <p:nvSpPr>
              <p:cNvPr id="20" name="Ellipse 19"/>
              <p:cNvSpPr/>
              <p:nvPr/>
            </p:nvSpPr>
            <p:spPr>
              <a:xfrm>
                <a:off x="9820135" y="1392999"/>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857637" y="5257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7</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0</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6</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9" name="Gruppieren 8">
            <a:extLst>
              <a:ext uri="{FF2B5EF4-FFF2-40B4-BE49-F238E27FC236}">
                <a16:creationId xmlns:a16="http://schemas.microsoft.com/office/drawing/2014/main" id="{2A3CB50D-6946-7AAA-8433-6AD2AB88C7A8}"/>
              </a:ext>
            </a:extLst>
          </p:cNvPr>
          <p:cNvGrpSpPr/>
          <p:nvPr/>
        </p:nvGrpSpPr>
        <p:grpSpPr>
          <a:xfrm>
            <a:off x="2896875" y="1115568"/>
            <a:ext cx="6398249" cy="4772415"/>
            <a:chOff x="670814" y="1435608"/>
            <a:chExt cx="6398249" cy="4772415"/>
          </a:xfrm>
        </p:grpSpPr>
        <p:sp>
          <p:nvSpPr>
            <p:cNvPr id="8" name="Rectangle 34">
              <a:extLst>
                <a:ext uri="{FF2B5EF4-FFF2-40B4-BE49-F238E27FC236}">
                  <a16:creationId xmlns:a16="http://schemas.microsoft.com/office/drawing/2014/main" id="{0BC79486-219A-8AF7-138B-58C0551246C1}"/>
                </a:ext>
              </a:extLst>
            </p:cNvPr>
            <p:cNvSpPr/>
            <p:nvPr/>
          </p:nvSpPr>
          <p:spPr>
            <a:xfrm>
              <a:off x="1205631" y="1435608"/>
              <a:ext cx="5548580" cy="2841305"/>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 name="Gruppieren 5">
              <a:extLst>
                <a:ext uri="{FF2B5EF4-FFF2-40B4-BE49-F238E27FC236}">
                  <a16:creationId xmlns:a16="http://schemas.microsoft.com/office/drawing/2014/main" id="{552D9B24-6B71-60E8-3F2B-07A8F436720B}"/>
                </a:ext>
              </a:extLst>
            </p:cNvPr>
            <p:cNvGrpSpPr/>
            <p:nvPr/>
          </p:nvGrpSpPr>
          <p:grpSpPr>
            <a:xfrm>
              <a:off x="670814" y="1533045"/>
              <a:ext cx="6398249" cy="4674978"/>
              <a:chOff x="670814" y="1533045"/>
              <a:chExt cx="6398249" cy="4674978"/>
            </a:xfrm>
          </p:grpSpPr>
          <p:sp>
            <p:nvSpPr>
              <p:cNvPr id="4" name="Rectangle 21">
                <a:extLst>
                  <a:ext uri="{FF2B5EF4-FFF2-40B4-BE49-F238E27FC236}">
                    <a16:creationId xmlns:a16="http://schemas.microsoft.com/office/drawing/2014/main" id="{B8E8DBC4-0ED3-7238-2C77-60A1275D404D}"/>
                  </a:ext>
                </a:extLst>
              </p:cNvPr>
              <p:cNvSpPr/>
              <p:nvPr/>
            </p:nvSpPr>
            <p:spPr>
              <a:xfrm>
                <a:off x="1491615" y="2374917"/>
                <a:ext cx="1516877"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533045"/>
                <a:ext cx="6398249" cy="4674978"/>
                <a:chOff x="670814" y="1533045"/>
                <a:chExt cx="6398249" cy="4674978"/>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533045"/>
                  <a:ext cx="6398249" cy="4674978"/>
                  <a:chOff x="670814" y="1533045"/>
                  <a:chExt cx="6398249" cy="4674978"/>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533045"/>
                    <a:ext cx="6398249" cy="4674978"/>
                    <a:chOff x="670814" y="1533045"/>
                    <a:chExt cx="6398249" cy="4674978"/>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533045"/>
                      <a:ext cx="6398249" cy="4674978"/>
                      <a:chOff x="670814" y="1533045"/>
                      <a:chExt cx="6398249" cy="4674978"/>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533045"/>
                        <a:ext cx="6398249" cy="4674978"/>
                        <a:chOff x="2767010" y="1219008"/>
                        <a:chExt cx="6398249" cy="4674978"/>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219008"/>
                          <a:ext cx="6398249" cy="4674978"/>
                          <a:chOff x="2008058" y="1783136"/>
                          <a:chExt cx="6398249" cy="4674978"/>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2085978"/>
                            <a:ext cx="6398249" cy="4372136"/>
                            <a:chOff x="965642" y="2278002"/>
                            <a:chExt cx="6398249" cy="4372136"/>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2278002"/>
                              <a:ext cx="6398249" cy="4372136"/>
                              <a:chOff x="2953577" y="2266090"/>
                              <a:chExt cx="6398249" cy="4372136"/>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2275616"/>
                                <a:ext cx="5863433" cy="4362610"/>
                                <a:chOff x="1598102" y="2319586"/>
                                <a:chExt cx="5863433" cy="4362610"/>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2319586"/>
                                  <a:ext cx="5747853" cy="4362610"/>
                                  <a:chOff x="1593910" y="2319586"/>
                                  <a:chExt cx="5747853" cy="4362610"/>
                                </a:xfrm>
                              </p:grpSpPr>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5397524" y="2266090"/>
                                <a:ext cx="3233830" cy="2434723"/>
                                <a:chOff x="5302766" y="2266090"/>
                                <a:chExt cx="3233830"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5426090" y="2266090"/>
                                      <a:ext cx="1530000"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5426090" y="2266090"/>
                                      <a:ext cx="1530000"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5370751" y="2556643"/>
                                  <a:ext cx="1530000"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5302766" y="2806693"/>
                                  <a:ext cx="1530928"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grpSp>
      </p:grpSp>
    </p:spTree>
    <p:extLst>
      <p:ext uri="{BB962C8B-B14F-4D97-AF65-F5344CB8AC3E}">
        <p14:creationId xmlns:p14="http://schemas.microsoft.com/office/powerpoint/2010/main" val="2118808941"/>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37398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6138623"/>
            <a:chOff x="2690231" y="196850"/>
            <a:chExt cx="4996444" cy="6138623"/>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6138623"/>
              <a:chOff x="2690231" y="196850"/>
              <a:chExt cx="4996444" cy="6138623"/>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6138623"/>
                <a:chOff x="2690231" y="196850"/>
                <a:chExt cx="4996444" cy="6138623"/>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6138623"/>
                  <a:chOff x="2690231" y="196850"/>
                  <a:chExt cx="4996444" cy="6138623"/>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6138623"/>
                    <a:chOff x="4445879" y="-158352"/>
                    <a:chExt cx="4996444" cy="6138623"/>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6138623"/>
                      <a:chOff x="4445879" y="-158352"/>
                      <a:chExt cx="4996444" cy="6138623"/>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6138623"/>
                        <a:chOff x="4618443" y="-5196"/>
                        <a:chExt cx="4996444" cy="6138623"/>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rgbClr val="E6E6E6"/>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02827"/>
                          <a:ext cx="4996444" cy="5930600"/>
                          <a:chOff x="4618443" y="202827"/>
                          <a:chExt cx="4996444" cy="5930600"/>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02827"/>
                            <a:ext cx="4996444" cy="5930600"/>
                            <a:chOff x="4618443" y="202827"/>
                            <a:chExt cx="4996444" cy="5930600"/>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02827"/>
                              <a:ext cx="4996444" cy="5930600"/>
                              <a:chOff x="4618443" y="202827"/>
                              <a:chExt cx="4996444" cy="5930600"/>
                            </a:xfrm>
                          </p:grpSpPr>
                          <mc:AlternateContent xmlns:mc="http://schemas.openxmlformats.org/markup-compatibility/2006">
                            <mc:Choice xmlns:a14="http://schemas.microsoft.com/office/drawing/2010/main"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100" kern="1200" dirty="0">
                                            <a:solidFill>
                                              <a:prstClr val="white"/>
                                            </a:solidFill>
                                            <a:latin typeface="Cambria Math" panose="02040503050406030204" pitchFamily="18" charset="0"/>
                                          </a:rPr>
                                          <m:t> </m:t>
                                        </m:r>
                                      </m:oMath>
                                    </a14:m>
                                    <a:r>
                                      <a:rPr lang="en-US" sz="1100" kern="1200" dirty="0">
                                        <a:solidFill>
                                          <a:prstClr val="white"/>
                                        </a:solidFill>
                                        <a:latin typeface="Daimler CS" pitchFamily="2" charset="0"/>
                                      </a:rPr>
                                      <a:t>Hiddenstatevector</a:t>
                                    </a:r>
                                  </a:p>
                                  <a:p>
                                    <a:pPr defTabSz="1088333">
                                      <a:buClrTx/>
                                    </a:pPr>
                                    <a:endParaRPr lang="en-US" sz="1100" kern="1200" dirty="0">
                                      <a:solidFill>
                                        <a:prstClr val="white"/>
                                      </a:solidFill>
                                      <a:latin typeface="Daimler CS" pitchFamily="2" charset="0"/>
                                    </a:endParaRPr>
                                  </a:p>
                                </p:txBody>
                              </p:sp>
                            </mc:Choice>
                            <mc:Fallback>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02827"/>
                                <a:ext cx="4996444" cy="5930600"/>
                                <a:chOff x="3729626" y="772958"/>
                                <a:chExt cx="4996444" cy="5930600"/>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772958"/>
                                  <a:ext cx="4996444" cy="5930600"/>
                                  <a:chOff x="4675145" y="953070"/>
                                  <a:chExt cx="4996444" cy="5930600"/>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4223883"/>
                                    <a:chOff x="2850775" y="2703757"/>
                                    <a:chExt cx="4930523" cy="4223883"/>
                                  </a:xfrm>
                                </p:grpSpPr>
                                <mc:AlternateContent xmlns:mc="http://schemas.openxmlformats.org/markup-compatibility/2006">
                                  <mc:Choice xmlns:a14="http://schemas.microsoft.com/office/drawing/2010/main"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2078454"/>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en-US" i="1" dirty="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br>
                                            <a:rPr lang="en-US" i="1" dirty="0">
                                              <a:latin typeface="Cambria Math" panose="02040503050406030204" pitchFamily="18" charset="0"/>
                                            </a:rPr>
                                          </a:b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en-US" i="1" dirty="0">
                                            <a:latin typeface="Cambria Math" panose="02040503050406030204" pitchFamily="18" charset="0"/>
                                          </a:endParaRPr>
                                        </a:p>
                                        <a:p>
                                          <a:endParaRPr lang="de-DE" b="0" i="1" dirty="0">
                                            <a:latin typeface="Cambria Math" panose="02040503050406030204" pitchFamily="18" charset="0"/>
                                          </a:endParaRPr>
                                        </a:p>
                                        <a:p>
                                          <a:pPr/>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2078454"/>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953070"/>
                                    <a:ext cx="1925557" cy="1634689"/>
                                    <a:chOff x="5269984" y="953070"/>
                                    <a:chExt cx="1925557" cy="1634689"/>
                                  </a:xfrm>
                                </p:grpSpPr>
                                <mc:AlternateContent xmlns:mc="http://schemas.openxmlformats.org/markup-compatibility/2006">
                                  <mc:Choice xmlns:a14="http://schemas.microsoft.com/office/drawing/2010/main" Requires="a14">
                                    <p:sp>
                                      <p:nvSpPr>
                                        <p:cNvPr id="166" name="Rectangle 21">
                                          <a:extLst>
                                            <a:ext uri="{FF2B5EF4-FFF2-40B4-BE49-F238E27FC236}">
                                              <a16:creationId xmlns:a16="http://schemas.microsoft.com/office/drawing/2014/main" id="{572AC2C1-400A-F009-3D69-26D508BF66E8}"/>
                                            </a:ext>
                                          </a:extLst>
                                        </p:cNvPr>
                                        <p:cNvSpPr/>
                                        <p:nvPr/>
                                      </p:nvSpPr>
                                      <p:spPr>
                                        <a:xfrm>
                                          <a:off x="5431541" y="953070"/>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100" i="1" kern="1200" dirty="0" smtClean="0">
                                                  <a:solidFill>
                                                    <a:prstClr val="white"/>
                                                  </a:solidFill>
                                                  <a:latin typeface="Cambria Math" panose="02040503050406030204" pitchFamily="18" charset="0"/>
                                                </a:rPr>
                                                <m:t>𝑛</m:t>
                                              </m:r>
                                              <m:r>
                                                <a:rPr lang="en-US" sz="1100" i="1" kern="1200" dirty="0" smtClean="0">
                                                  <a:solidFill>
                                                    <a:prstClr val="white"/>
                                                  </a:solidFill>
                                                  <a:latin typeface="Cambria Math" panose="02040503050406030204" pitchFamily="18" charset="0"/>
                                                </a:rPr>
                                                <m:t> </m:t>
                                              </m:r>
                                            </m:oMath>
                                          </a14:m>
                                          <a:r>
                                            <a:rPr lang="en-US" sz="1100" kern="1200" dirty="0">
                                              <a:solidFill>
                                                <a:prstClr val="white"/>
                                              </a:solidFill>
                                              <a:latin typeface="Daimler CS" pitchFamily="2" charset="0"/>
                                            </a:rPr>
                                            <a:t>Hiddenstatevectors</a:t>
                                          </a:r>
                                        </a:p>
                                      </p:txBody>
                                    </p:sp>
                                  </mc:Choice>
                                  <mc:Fallback>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31541" y="953070"/>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347289" y="122130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169" name="Rectangle 15">
                                      <a:extLst>
                                        <a:ext uri="{FF2B5EF4-FFF2-40B4-BE49-F238E27FC236}">
                                          <a16:creationId xmlns:a16="http://schemas.microsoft.com/office/drawing/2014/main" id="{2694F5EA-C5DC-B203-E4CE-45B8A1E1E2EE}"/>
                                        </a:ext>
                                      </a:extLst>
                                    </p:cNvPr>
                                    <p:cNvSpPr/>
                                    <p:nvPr/>
                                  </p:nvSpPr>
                                  <p:spPr>
                                    <a:xfrm rot="5400000">
                                      <a:off x="5794081" y="1076215"/>
                                      <a:ext cx="720000" cy="1620000"/>
                                    </a:xfrm>
                                    <a:prstGeom prst="rect">
                                      <a:avLst/>
                                    </a:prstGeom>
                                    <a:solidFill>
                                      <a:srgbClr val="1171BE">
                                        <a:alpha val="50000"/>
                                      </a:srgbClr>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mc:AlternateContent xmlns:mc="http://schemas.openxmlformats.org/markup-compatibility/2006">
                                  <mc:Choice xmlns:a14="http://schemas.microsoft.com/office/drawing/2010/main"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mc:Choice xmlns:a14="http://schemas.microsoft.com/office/drawing/2010/main"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1171BE">
                                        <a:alpha val="50000"/>
                                      </a:srgbClr>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mc:Choice xmlns:a14="http://schemas.microsoft.com/office/drawing/2010/main"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655315"/>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mc:Choice xmlns:a14="http://schemas.microsoft.com/office/drawing/2010/main"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mc:Choice xmlns:a14="http://schemas.microsoft.com/office/drawing/2010/main"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accent3">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Confirmation</a:t>
              </a:r>
              <a:endParaRPr lang="de-DE" sz="1100" dirty="0"/>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Delete</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632486" y="80308"/>
            <a:ext cx="4215864" cy="6659283"/>
            <a:chOff x="3632736" y="-66675"/>
            <a:chExt cx="4215864" cy="6659283"/>
          </a:xfrm>
        </p:grpSpPr>
        <p:sp>
          <p:nvSpPr>
            <p:cNvPr id="19" name="Rechteck 18">
              <a:extLst>
                <a:ext uri="{FF2B5EF4-FFF2-40B4-BE49-F238E27FC236}">
                  <a16:creationId xmlns:a16="http://schemas.microsoft.com/office/drawing/2014/main" id="{EECCDEF0-5E45-804D-745D-F949B80BEC5E}"/>
                </a:ext>
              </a:extLst>
            </p:cNvPr>
            <p:cNvSpPr/>
            <p:nvPr/>
          </p:nvSpPr>
          <p:spPr>
            <a:xfrm>
              <a:off x="3632736" y="-66675"/>
              <a:ext cx="4215864" cy="6654092"/>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632736" y="0"/>
              <a:ext cx="4215864" cy="6592608"/>
              <a:chOff x="3651786" y="176811"/>
              <a:chExt cx="4215864" cy="6592608"/>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651786" y="176811"/>
                <a:ext cx="4215864" cy="6592608"/>
                <a:chOff x="1490477" y="1988211"/>
                <a:chExt cx="4215864" cy="6592608"/>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490477" y="2258794"/>
                  <a:ext cx="4215864" cy="6322025"/>
                  <a:chOff x="1490477" y="2258794"/>
                  <a:chExt cx="4215864" cy="6322025"/>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5619098"/>
                    <a:ext cx="3938865" cy="2681614"/>
                  </a:xfrm>
                  <a:prstGeom prst="rect">
                    <a:avLst/>
                  </a:prstGeom>
                </p:spPr>
              </p:pic>
              <p:sp>
                <p:nvSpPr>
                  <p:cNvPr id="197" name="Textfeld 196">
                    <a:extLst>
                      <a:ext uri="{FF2B5EF4-FFF2-40B4-BE49-F238E27FC236}">
                        <a16:creationId xmlns:a16="http://schemas.microsoft.com/office/drawing/2014/main" id="{1B34C028-923D-E300-49A5-43459286CA75}"/>
                      </a:ext>
                    </a:extLst>
                  </p:cNvPr>
                  <p:cNvSpPr txBox="1"/>
                  <p:nvPr/>
                </p:nvSpPr>
                <p:spPr>
                  <a:xfrm rot="16200000">
                    <a:off x="372519" y="6764725"/>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199" name="Textfeld 198">
                    <a:extLst>
                      <a:ext uri="{FF2B5EF4-FFF2-40B4-BE49-F238E27FC236}">
                        <a16:creationId xmlns:a16="http://schemas.microsoft.com/office/drawing/2014/main" id="{39AF27F0-7E29-50E6-ADAD-6C19AD3A5E00}"/>
                      </a:ext>
                    </a:extLst>
                  </p:cNvPr>
                  <p:cNvSpPr txBox="1"/>
                  <p:nvPr/>
                </p:nvSpPr>
                <p:spPr>
                  <a:xfrm>
                    <a:off x="3023948" y="83038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535804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743830" y="348712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746522" y="3045388"/>
            <a:ext cx="553442" cy="2012084"/>
            <a:chOff x="6985766" y="1898006"/>
            <a:chExt cx="553442"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Tree>
    <p:extLst>
      <p:ext uri="{BB962C8B-B14F-4D97-AF65-F5344CB8AC3E}">
        <p14:creationId xmlns:p14="http://schemas.microsoft.com/office/powerpoint/2010/main" val="4114295794"/>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5691</Words>
  <Application>Microsoft Office PowerPoint</Application>
  <PresentationFormat>Breitbild</PresentationFormat>
  <Paragraphs>1051</Paragraphs>
  <Slides>47</Slides>
  <Notes>39</Notes>
  <HiddenSlides>12</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47</vt:i4>
      </vt:variant>
    </vt:vector>
  </HeadingPairs>
  <TitlesOfParts>
    <vt:vector size="58" baseType="lpstr">
      <vt:lpstr>Arial</vt:lpstr>
      <vt:lpstr>Calibri</vt:lpstr>
      <vt:lpstr>Cambria Math</vt:lpstr>
      <vt:lpstr>Daimler CS</vt:lpstr>
      <vt:lpstr>Lucida Grande</vt:lpstr>
      <vt:lpstr>Menlo</vt:lpstr>
      <vt:lpstr>Söhne</vt:lpstr>
      <vt:lpstr>Wingdings</vt:lpstr>
      <vt:lpstr>TTS Theme 2022 - Light</vt:lpstr>
      <vt:lpstr>Presentation</vt:lpstr>
      <vt:lpstr>think-cell Folie</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397</cp:revision>
  <dcterms:created xsi:type="dcterms:W3CDTF">2022-02-05T01:08:08Z</dcterms:created>
  <dcterms:modified xsi:type="dcterms:W3CDTF">2024-04-28T18:5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